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5" r:id="rId2"/>
    <p:sldMasterId id="2147483686" r:id="rId3"/>
    <p:sldMasterId id="2147483701" r:id="rId4"/>
    <p:sldMasterId id="2147483712" r:id="rId5"/>
    <p:sldMasterId id="2147483727" r:id="rId6"/>
  </p:sldMasterIdLst>
  <p:notesMasterIdLst>
    <p:notesMasterId r:id="rId11"/>
  </p:notesMasterIdLst>
  <p:sldIdLst>
    <p:sldId id="4099917" r:id="rId7"/>
    <p:sldId id="4099919" r:id="rId8"/>
    <p:sldId id="4099918" r:id="rId9"/>
    <p:sldId id="4099920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F60"/>
    <a:srgbClr val="16349E"/>
    <a:srgbClr val="0E146D"/>
    <a:srgbClr val="4372C4"/>
    <a:srgbClr val="FF7C00"/>
    <a:srgbClr val="E84B12"/>
    <a:srgbClr val="F30381"/>
    <a:srgbClr val="183CC3"/>
    <a:srgbClr val="1733A7"/>
    <a:srgbClr val="152D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46"/>
    <p:restoredTop sz="94552"/>
  </p:normalViewPr>
  <p:slideViewPr>
    <p:cSldViewPr snapToGrid="0" snapToObjects="1">
      <p:cViewPr varScale="1">
        <p:scale>
          <a:sx n="109" d="100"/>
          <a:sy n="109" d="100"/>
        </p:scale>
        <p:origin x="76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jiangyi.wang/Desktop/untitle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jiangyi.wang/Desktop/figur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solidFill>
                  <a:srgbClr val="001F60"/>
                </a:solidFill>
              </a:rPr>
              <a:t>ATO Cases</a:t>
            </a:r>
            <a:r>
              <a:rPr lang="en-GB" baseline="0" dirty="0">
                <a:solidFill>
                  <a:srgbClr val="001F60"/>
                </a:solidFill>
              </a:rPr>
              <a:t> among different months</a:t>
            </a:r>
            <a:endParaRPr lang="en-GB" dirty="0">
              <a:solidFill>
                <a:srgbClr val="001F6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figure.xlsx]id_month!$B$1</c:f>
              <c:strCache>
                <c:ptCount val="1"/>
                <c:pt idx="0">
                  <c:v>num_cc_ato</c:v>
                </c:pt>
              </c:strCache>
            </c:strRef>
          </c:tx>
          <c:spPr>
            <a:solidFill>
              <a:srgbClr val="141E7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C6C-4648-A526-BFDF28549C8A}"/>
              </c:ext>
            </c:extLst>
          </c:dPt>
          <c:cat>
            <c:strRef>
              <c:f>[figure.xlsx]id_month!$A$2:$A$5</c:f>
              <c:strCache>
                <c:ptCount val="4"/>
                <c:pt idx="0">
                  <c:v>2022-M03</c:v>
                </c:pt>
                <c:pt idx="1">
                  <c:v>2022-M04</c:v>
                </c:pt>
                <c:pt idx="2">
                  <c:v>2022-M05</c:v>
                </c:pt>
                <c:pt idx="3">
                  <c:v>2022-M06</c:v>
                </c:pt>
              </c:strCache>
            </c:strRef>
          </c:cat>
          <c:val>
            <c:numRef>
              <c:f>[figure.xlsx]id_month!$B$2:$B$5</c:f>
              <c:numCache>
                <c:formatCode>General</c:formatCode>
                <c:ptCount val="4"/>
                <c:pt idx="0">
                  <c:v>1107</c:v>
                </c:pt>
                <c:pt idx="1">
                  <c:v>914</c:v>
                </c:pt>
                <c:pt idx="2">
                  <c:v>873</c:v>
                </c:pt>
                <c:pt idx="3">
                  <c:v>1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6C-4648-A526-BFDF28549C8A}"/>
            </c:ext>
          </c:extLst>
        </c:ser>
        <c:ser>
          <c:idx val="1"/>
          <c:order val="1"/>
          <c:tx>
            <c:strRef>
              <c:f>[figure.xlsx]id_month!$C$1</c:f>
              <c:strCache>
                <c:ptCount val="1"/>
                <c:pt idx="0">
                  <c:v>num_cc_ato_order</c:v>
                </c:pt>
              </c:strCache>
            </c:strRef>
          </c:tx>
          <c:spPr>
            <a:solidFill>
              <a:srgbClr val="F20567"/>
            </a:solidFill>
            <a:ln>
              <a:noFill/>
            </a:ln>
            <a:effectLst/>
          </c:spPr>
          <c:invertIfNegative val="0"/>
          <c:cat>
            <c:strRef>
              <c:f>[figure.xlsx]id_month!$A$2:$A$5</c:f>
              <c:strCache>
                <c:ptCount val="4"/>
                <c:pt idx="0">
                  <c:v>2022-M03</c:v>
                </c:pt>
                <c:pt idx="1">
                  <c:v>2022-M04</c:v>
                </c:pt>
                <c:pt idx="2">
                  <c:v>2022-M05</c:v>
                </c:pt>
                <c:pt idx="3">
                  <c:v>2022-M06</c:v>
                </c:pt>
              </c:strCache>
            </c:strRef>
          </c:cat>
          <c:val>
            <c:numRef>
              <c:f>[figure.xlsx]id_month!$C$2:$C$5</c:f>
              <c:numCache>
                <c:formatCode>General</c:formatCode>
                <c:ptCount val="4"/>
                <c:pt idx="0">
                  <c:v>702</c:v>
                </c:pt>
                <c:pt idx="1">
                  <c:v>543</c:v>
                </c:pt>
                <c:pt idx="2">
                  <c:v>491</c:v>
                </c:pt>
                <c:pt idx="3">
                  <c:v>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6C-4648-A526-BFDF28549C8A}"/>
            </c:ext>
          </c:extLst>
        </c:ser>
        <c:ser>
          <c:idx val="2"/>
          <c:order val="2"/>
          <c:tx>
            <c:strRef>
              <c:f>[figure.xlsx]id_month!$D$1</c:f>
              <c:strCache>
                <c:ptCount val="1"/>
                <c:pt idx="0">
                  <c:v>num_cc_ato_tag_seller_scam</c:v>
                </c:pt>
              </c:strCache>
            </c:strRef>
          </c:tx>
          <c:spPr>
            <a:solidFill>
              <a:srgbClr val="F66800"/>
            </a:solidFill>
            <a:ln>
              <a:noFill/>
            </a:ln>
            <a:effectLst/>
          </c:spPr>
          <c:invertIfNegative val="0"/>
          <c:cat>
            <c:strRef>
              <c:f>[figure.xlsx]id_month!$A$2:$A$5</c:f>
              <c:strCache>
                <c:ptCount val="4"/>
                <c:pt idx="0">
                  <c:v>2022-M03</c:v>
                </c:pt>
                <c:pt idx="1">
                  <c:v>2022-M04</c:v>
                </c:pt>
                <c:pt idx="2">
                  <c:v>2022-M05</c:v>
                </c:pt>
                <c:pt idx="3">
                  <c:v>2022-M06</c:v>
                </c:pt>
              </c:strCache>
            </c:strRef>
          </c:cat>
          <c:val>
            <c:numRef>
              <c:f>[figure.xlsx]id_month!$D$2:$D$5</c:f>
              <c:numCache>
                <c:formatCode>General</c:formatCode>
                <c:ptCount val="4"/>
                <c:pt idx="0">
                  <c:v>330</c:v>
                </c:pt>
                <c:pt idx="1">
                  <c:v>246</c:v>
                </c:pt>
                <c:pt idx="2">
                  <c:v>156</c:v>
                </c:pt>
                <c:pt idx="3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6C-4648-A526-BFDF28549C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24467327"/>
        <c:axId val="1424824703"/>
      </c:barChart>
      <c:catAx>
        <c:axId val="1424467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824703"/>
        <c:crosses val="autoZero"/>
        <c:auto val="1"/>
        <c:lblAlgn val="ctr"/>
        <c:lblOffset val="100"/>
        <c:noMultiLvlLbl val="0"/>
      </c:catAx>
      <c:valAx>
        <c:axId val="1424824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4467327"/>
        <c:crosses val="autoZero"/>
        <c:crossBetween val="between"/>
      </c:valAx>
      <c:spPr>
        <a:pattFill prst="pct5">
          <a:fgClr>
            <a:schemeClr val="accent1"/>
          </a:fgClr>
          <a:bgClr>
            <a:schemeClr val="bg1"/>
          </a:bgClr>
        </a:patt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rgbClr val="001F60"/>
                </a:solidFill>
              </a:rPr>
              <a:t>ATO Cases among different ventur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venture!$B$1</c:f>
              <c:strCache>
                <c:ptCount val="1"/>
                <c:pt idx="0">
                  <c:v>ATO cases among different ventures</c:v>
                </c:pt>
              </c:strCache>
            </c:strRef>
          </c:tx>
          <c:dPt>
            <c:idx val="0"/>
            <c:bubble3D val="0"/>
            <c:spPr>
              <a:solidFill>
                <a:srgbClr val="4372C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78A4-654C-945F-20F168F4DB36}"/>
              </c:ext>
            </c:extLst>
          </c:dPt>
          <c:dPt>
            <c:idx val="1"/>
            <c:bubble3D val="0"/>
            <c:spPr>
              <a:solidFill>
                <a:srgbClr val="1634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78A4-654C-945F-20F168F4DB36}"/>
              </c:ext>
            </c:extLst>
          </c:dPt>
          <c:dPt>
            <c:idx val="2"/>
            <c:bubble3D val="0"/>
            <c:spPr>
              <a:solidFill>
                <a:srgbClr val="0E146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78A4-654C-945F-20F168F4DB36}"/>
              </c:ext>
            </c:extLst>
          </c:dPt>
          <c:dPt>
            <c:idx val="3"/>
            <c:bubble3D val="0"/>
            <c:spPr>
              <a:solidFill>
                <a:srgbClr val="FF7C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78A4-654C-945F-20F168F4DB36}"/>
              </c:ext>
            </c:extLst>
          </c:dPt>
          <c:dPt>
            <c:idx val="4"/>
            <c:bubble3D val="0"/>
            <c:spPr>
              <a:solidFill>
                <a:srgbClr val="E84B1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78A4-654C-945F-20F168F4DB36}"/>
              </c:ext>
            </c:extLst>
          </c:dPt>
          <c:dPt>
            <c:idx val="5"/>
            <c:bubble3D val="0"/>
            <c:spPr>
              <a:solidFill>
                <a:srgbClr val="F3038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78A4-654C-945F-20F168F4DB36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bg2">
                            <a:lumMod val="9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55F1B7-11E2-4944-8890-292633B54CAC}" type="CATEGORYNAME">
                      <a:rPr lang="en-US" sz="1000" smtClean="0"/>
                      <a:pPr>
                        <a:defRPr sz="1000" b="0" i="0" u="none" strike="noStrike" kern="1200" baseline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sz="1000" dirty="0"/>
                      <a:t> (</a:t>
                    </a:r>
                    <a:r>
                      <a:rPr lang="en-US" sz="1000" b="1" dirty="0"/>
                      <a:t>3983 cases</a:t>
                    </a:r>
                    <a:r>
                      <a:rPr lang="en-US" sz="1000" dirty="0"/>
                      <a:t>)</a:t>
                    </a:r>
                    <a:r>
                      <a:rPr lang="en-US" sz="1000" baseline="0" dirty="0"/>
                      <a:t>
</a:t>
                    </a:r>
                    <a:fld id="{DD7BF167-146E-904F-B7EC-76A7D0AA57E3}" type="PERCENTAGE">
                      <a:rPr lang="en-US" sz="1000" baseline="0" dirty="0"/>
                      <a:pPr>
                        <a:defRPr sz="1000" b="0" i="0" u="none" strike="noStrike" kern="1200" baseline="0">
                          <a:solidFill>
                            <a:schemeClr val="bg2">
                              <a:lumMod val="90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PERCENTAGE]</a:t>
                    </a:fld>
                    <a:endParaRPr lang="en-US" sz="10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2">
                          <a:lumMod val="9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093586865781683"/>
                      <c:h val="0.2233381654509366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8A4-654C-945F-20F168F4DB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>
                        <a:lumMod val="9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venture!$A$2:$A$7</c:f>
              <c:strCache>
                <c:ptCount val="6"/>
                <c:pt idx="0">
                  <c:v>ID</c:v>
                </c:pt>
                <c:pt idx="1">
                  <c:v>MY</c:v>
                </c:pt>
                <c:pt idx="2">
                  <c:v>PH</c:v>
                </c:pt>
                <c:pt idx="3">
                  <c:v>SG</c:v>
                </c:pt>
                <c:pt idx="4">
                  <c:v>TH</c:v>
                </c:pt>
                <c:pt idx="5">
                  <c:v>VN</c:v>
                </c:pt>
              </c:strCache>
            </c:strRef>
          </c:cat>
          <c:val>
            <c:numRef>
              <c:f>venture!$B$2:$B$7</c:f>
              <c:numCache>
                <c:formatCode>General</c:formatCode>
                <c:ptCount val="6"/>
                <c:pt idx="0">
                  <c:v>3983</c:v>
                </c:pt>
                <c:pt idx="1">
                  <c:v>212</c:v>
                </c:pt>
                <c:pt idx="2">
                  <c:v>102</c:v>
                </c:pt>
                <c:pt idx="3">
                  <c:v>115</c:v>
                </c:pt>
                <c:pt idx="4">
                  <c:v>174</c:v>
                </c:pt>
                <c:pt idx="5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8A4-654C-945F-20F168F4DB36}"/>
            </c:ext>
          </c:extLst>
        </c:ser>
        <c:dLbls>
          <c:dLblPos val="ctr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C31ED4-C5E5-7147-82DD-0F76E9618B01}" type="datetimeFigureOut">
              <a:rPr lang="en-US" smtClean="0"/>
              <a:t>7/26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988E45-FC3C-9546-888E-7D9DF8D782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684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4889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988E45-FC3C-9546-888E-7D9DF8D7826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897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029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957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396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9306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 altLang="zh-CN"/>
              <a:t>Click to edit Master title style</a:t>
            </a:r>
            <a:endParaRPr lang="en-SG" dirty="0"/>
          </a:p>
        </p:txBody>
      </p:sp>
      <p:sp>
        <p:nvSpPr>
          <p:cNvPr id="7" name="Rectangle 6"/>
          <p:cNvSpPr/>
          <p:nvPr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379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14380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5640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78833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1421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69209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77638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186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15446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88595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8535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4819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974134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167136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55145657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7886654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0101989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0222531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9823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3829306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68766251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3598352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1524493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8380448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8AC19-0796-4750-A574-3F640E3F84BA}" type="datetimeFigureOut">
              <a:rPr lang="zh-CN" altLang="en-US" smtClean="0"/>
              <a:t>2022/7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15526693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14890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 altLang="zh-CN"/>
              <a:t>Click to edit Master title style</a:t>
            </a:r>
            <a:endParaRPr lang="en-SG" dirty="0"/>
          </a:p>
        </p:txBody>
      </p:sp>
      <p:sp>
        <p:nvSpPr>
          <p:cNvPr id="7" name="Rectangle 6"/>
          <p:cNvSpPr/>
          <p:nvPr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9068361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16185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6346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0871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65961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19561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88876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81570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72372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88735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492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989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7591699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2533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3884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7135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1378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9311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4585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0620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0450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983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5275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8666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008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787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02152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 altLang="zh-CN"/>
              <a:t>Click to edit Master title style</a:t>
            </a:r>
            <a:endParaRPr lang="en-SG" dirty="0"/>
          </a:p>
        </p:txBody>
      </p:sp>
      <p:sp>
        <p:nvSpPr>
          <p:cNvPr id="7" name="Rectangle 6"/>
          <p:cNvSpPr/>
          <p:nvPr/>
        </p:nvSpPr>
        <p:spPr>
          <a:xfrm>
            <a:off x="158748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512099" y="1853294"/>
            <a:ext cx="469901" cy="4302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>
              <a:solidFill>
                <a:prstClr val="white"/>
              </a:solidFill>
            </a:endParaRP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49" y="1853293"/>
            <a:ext cx="10883449" cy="43025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0" fontAlgn="base" hangingPunct="0">
              <a:lnSpc>
                <a:spcPct val="120000"/>
              </a:lnSpc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▫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Franklin Gothic Medium Cond" panose="020B0606030402020204" pitchFamily="34" charset="0"/>
              <a:buChar char="∙"/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lang="en-US" sz="1800" kern="1200" dirty="0" smtClean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SG" sz="1600" kern="1200" dirty="0">
                <a:solidFill>
                  <a:srgbClr val="0F146D"/>
                </a:solidFill>
                <a:latin typeface="Franklin Gothic Medium Cond" panose="020B0606030402020204" pitchFamily="34" charset="0"/>
                <a:ea typeface="+mn-ea"/>
                <a:cs typeface="Roboto Condensed Light" pitchFamily="2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0046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991858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50050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5183740" y="1657267"/>
            <a:ext cx="7052629" cy="396710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38895" y="-127322"/>
            <a:ext cx="12419634" cy="7141580"/>
          </a:xfrm>
          <a:prstGeom prst="rect">
            <a:avLst/>
          </a:prstGeom>
          <a:solidFill>
            <a:schemeClr val="tx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9164" y="2766218"/>
            <a:ext cx="7226215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5000"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9164" y="6480857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4F5FC"/>
                </a:solidFill>
              </a:rPr>
              <a:t>Highly Confidential</a:t>
            </a:r>
            <a:endParaRPr lang="en-US" dirty="0">
              <a:solidFill>
                <a:srgbClr val="F4F5FC"/>
              </a:solidFill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956803" y="6037265"/>
            <a:ext cx="1919289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60714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38" y="81226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solidFill>
                  <a:schemeClr val="accent2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508436" y="52197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26976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2426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92118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6037263"/>
            <a:ext cx="19192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5699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folio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76507" y="701675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229207" y="70167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29207" y="2716213"/>
            <a:ext cx="2514600" cy="34564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76507" y="4200525"/>
            <a:ext cx="2514600" cy="197510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714920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5" y="2828925"/>
            <a:ext cx="38671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87189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2001" y="1447850"/>
            <a:ext cx="11329326" cy="15029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24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8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579300" y="-14760"/>
            <a:ext cx="1522926" cy="47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27486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2621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14800" y="1701800"/>
            <a:ext cx="8077200" cy="51441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SG" dirty="0">
              <a:solidFill>
                <a:srgbClr val="F4F5FC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lang="en-SG" sz="3200" b="1" kern="1200" dirty="0">
                <a:solidFill>
                  <a:srgbClr val="1B126C"/>
                </a:solidFill>
                <a:latin typeface="Franklin Gothic Demi" panose="020B0603020102020204" pitchFamily="34" charset="0"/>
                <a:ea typeface="Roboto" panose="02000000000000000000" pitchFamily="2" charset="0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SG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676161-B8B3-4BA2-B113-47687126B8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28649" y="6473825"/>
            <a:ext cx="4341284" cy="381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>
                <a:solidFill>
                  <a:schemeClr val="bg2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>
              <a:solidFill>
                <a:srgbClr val="AAB2B8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4848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C63AAC-2832-724F-8A26-2B0A5653DA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 Placeholder 4"/>
          <p:cNvSpPr txBox="1"/>
          <p:nvPr/>
        </p:nvSpPr>
        <p:spPr>
          <a:xfrm>
            <a:off x="11580643" y="6430321"/>
            <a:ext cx="372218" cy="230832"/>
          </a:xfrm>
          <a:prstGeom prst="rect">
            <a:avLst/>
          </a:prstGeom>
          <a:ln w="12700">
            <a:miter lim="400000"/>
          </a:ln>
        </p:spPr>
        <p:txBody>
          <a:bodyPr wrap="none" tIns="45720" bIns="45720" anchor="ctr">
            <a:spAutoFit/>
          </a:bodyPr>
          <a:lstStyle/>
          <a:p>
            <a:pPr algn="r" hangingPunct="0">
              <a:defRPr sz="1600">
                <a:solidFill>
                  <a:srgbClr val="BFBFBF"/>
                </a:solidFill>
                <a:latin typeface="+mj-lt"/>
                <a:ea typeface="+mj-ea"/>
                <a:cs typeface="+mj-cs"/>
                <a:sym typeface="Helvetica"/>
              </a:defRPr>
            </a:pPr>
            <a:fld id="{86CB4B4D-7CA3-9044-876B-883B54F8677D}" type="slidenum">
              <a:rPr sz="900" b="1" kern="0">
                <a:solidFill>
                  <a:srgbClr val="FFFFFF">
                    <a:lumMod val="75000"/>
                  </a:srgbClr>
                </a:solidFill>
                <a:latin typeface="Futura" panose="020B0602020204020303" pitchFamily="34" charset="-79"/>
                <a:cs typeface="Futura" panose="020B0602020204020303" pitchFamily="34" charset="-79"/>
                <a:sym typeface="Helvetica"/>
              </a:rPr>
              <a:t>‹#›</a:t>
            </a:fld>
            <a:r>
              <a:rPr sz="800" kern="0" dirty="0">
                <a:solidFill>
                  <a:srgbClr val="FFFFFF">
                    <a:lumMod val="75000"/>
                  </a:srgbClr>
                </a:solidFill>
                <a:latin typeface="Helvetica"/>
                <a:sym typeface="Helvetica"/>
              </a:rPr>
              <a:t>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49887" y="6422053"/>
            <a:ext cx="1713931" cy="24622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1000" b="1" dirty="0">
                <a:solidFill>
                  <a:srgbClr val="FFFFFF">
                    <a:lumMod val="75000"/>
                  </a:srgbClr>
                </a:solidFill>
                <a:latin typeface="Proxima Nova" panose="02000506030000020004" pitchFamily="2" charset="0"/>
              </a:rPr>
              <a:t>STRICTLY CONFIDENT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36486"/>
            <a:ext cx="284085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6972" y="435006"/>
            <a:ext cx="9795028" cy="648070"/>
          </a:xfrm>
          <a:prstGeom prst="rect">
            <a:avLst/>
          </a:prstGeom>
          <a:solidFill>
            <a:srgbClr val="0957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4F5F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251" y="465058"/>
            <a:ext cx="1641750" cy="56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3911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7763510" imgH="10049510" progId="TCLayout.ActiveDocument.1">
                  <p:embed/>
                </p:oleObj>
              </mc:Choice>
              <mc:Fallback>
                <p:oleObj name="think-cell Slide" r:id="rId4" imgW="7763510" imgH="1004951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288000"/>
            <a:ext cx="9715300" cy="4431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200" b="1">
                <a:latin typeface="Franklin Gothic Medium" panose="020B06030201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80857"/>
            <a:ext cx="4114800" cy="365125"/>
          </a:xfrm>
        </p:spPr>
        <p:txBody>
          <a:bodyPr/>
          <a:lstStyle/>
          <a:p>
            <a:r>
              <a:rPr lang="en-SG" dirty="0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18127" y="6480857"/>
            <a:ext cx="2743200" cy="365125"/>
          </a:xfrm>
        </p:spPr>
        <p:txBody>
          <a:bodyPr lIns="90000"/>
          <a:lstStyle>
            <a:lvl1pPr algn="r">
              <a:defRPr/>
            </a:lvl1pPr>
          </a:lstStyle>
          <a:p>
            <a:fld id="{8F0C0242-A9AE-48F8-BAC2-207D50E06550}" type="slidenum">
              <a:rPr lang="en-SG" smtClean="0"/>
              <a:t>‹#›</a:t>
            </a:fld>
            <a:endParaRPr lang="en-SG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31337" y="1284287"/>
            <a:ext cx="11329326" cy="13644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705" indent="-179705">
              <a:buFont typeface="Wingdings" panose="05000000000000000000" pitchFamily="2" charset="2"/>
              <a:buChar char="§"/>
              <a:defRPr sz="1600" b="0">
                <a:latin typeface="Franklin Gothic Medium" panose="020B0603020102020204" pitchFamily="34" charset="0"/>
              </a:defRPr>
            </a:lvl1pPr>
            <a:lvl2pPr marL="358775" indent="-179705">
              <a:buFont typeface="System Font Regular"/>
              <a:buChar char="-"/>
              <a:defRPr sz="1600" b="0">
                <a:latin typeface="Franklin Gothic Medium" panose="020B0603020102020204" pitchFamily="34" charset="0"/>
              </a:defRPr>
            </a:lvl2pPr>
            <a:lvl3pPr marL="538480" indent="-179705">
              <a:buFont typeface="Courier New" panose="02070309020205020404" pitchFamily="49" charset="0"/>
              <a:buChar char="o"/>
              <a:defRPr sz="1600" b="0">
                <a:latin typeface="Franklin Gothic Medium" panose="020B0603020102020204" pitchFamily="34" charset="0"/>
              </a:defRPr>
            </a:lvl3pPr>
            <a:lvl4pPr marL="717550" indent="-179705">
              <a:defRPr sz="1600" b="0">
                <a:latin typeface="Franklin Gothic Medium" panose="020B0603020102020204" pitchFamily="34" charset="0"/>
              </a:defRPr>
            </a:lvl4pPr>
            <a:lvl5pPr marL="898525" indent="-180975">
              <a:buFont typeface="Wingdings" panose="05000000000000000000" pitchFamily="2" charset="2"/>
              <a:buChar char="Ø"/>
              <a:defRPr sz="1600" b="0"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38400" y="288000"/>
            <a:ext cx="1522926" cy="472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2595736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altLang="zh-CN"/>
              <a:t>Click to edit Master text styles</a:t>
            </a:r>
          </a:p>
          <a:p>
            <a:pPr lvl="1"/>
            <a:r>
              <a:rPr lang="en-GB" altLang="zh-CN"/>
              <a:t>Second level</a:t>
            </a:r>
          </a:p>
          <a:p>
            <a:pPr lvl="2"/>
            <a:r>
              <a:rPr lang="en-GB" altLang="zh-CN"/>
              <a:t>Third level</a:t>
            </a:r>
          </a:p>
          <a:p>
            <a:pPr lvl="3"/>
            <a:r>
              <a:rPr lang="en-GB" altLang="zh-CN"/>
              <a:t>Fourth level</a:t>
            </a:r>
          </a:p>
          <a:p>
            <a:pPr lvl="4"/>
            <a:r>
              <a:rPr lang="en-GB" altLang="zh-CN"/>
              <a:t>Fifth level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24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altLang="zh-CN"/>
              <a:t>Click to edit Master title style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altLang="zh-CN"/>
              <a:t>Click to edit Master text styles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631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vmlDrawing" Target="../drawings/vmlDrawing5.v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70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8470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496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9781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A109F-2D3F-9C4A-9D94-2A63D4BBDA5A}" type="datetimeFigureOut">
              <a:rPr lang="en-US" smtClean="0"/>
              <a:t>7/26/22</a:t>
            </a:fld>
            <a:endParaRPr 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DEA50-A025-9642-8068-7C7DA2CFF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614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4808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  <a:ea typeface="Roboto Condensed Light" pitchFamily="2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AAB2B8">
                    <a:lumMod val="50000"/>
                  </a:srgbClr>
                </a:solidFill>
              </a:rPr>
              <a:t>Highl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6480858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900">
                <a:solidFill>
                  <a:srgbClr val="515A60"/>
                </a:solidFill>
                <a:latin typeface="Helvetica" panose="020B0604020202020204" pitchFamily="34" charset="0"/>
                <a:ea typeface="Roboto Condensed Light" pitchFamily="2" charset="0"/>
                <a:cs typeface="Roboto Condensed Light" pitchFamily="2" charset="0"/>
              </a:defRPr>
            </a:lvl1pPr>
          </a:lstStyle>
          <a:p>
            <a:pPr>
              <a:defRPr/>
            </a:pPr>
            <a:fld id="{41D878AC-AA50-9840-B1EF-27A8CC2DFD79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1636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BC9E9-C210-57AE-F52C-1336E73A80E9}"/>
              </a:ext>
            </a:extLst>
          </p:cNvPr>
          <p:cNvSpPr txBox="1"/>
          <p:nvPr/>
        </p:nvSpPr>
        <p:spPr>
          <a:xfrm>
            <a:off x="-145438" y="2571982"/>
            <a:ext cx="8465524" cy="15010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3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ccount Takeover (ATO) Update</a:t>
            </a:r>
            <a:endParaRPr lang="en-US" sz="3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2FF273-2C54-3CE6-0D1F-58C210149A27}"/>
              </a:ext>
            </a:extLst>
          </p:cNvPr>
          <p:cNvSpPr txBox="1"/>
          <p:nvPr/>
        </p:nvSpPr>
        <p:spPr>
          <a:xfrm>
            <a:off x="6252289" y="4073067"/>
            <a:ext cx="2175274" cy="32488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5 Aug 2022</a:t>
            </a:r>
          </a:p>
        </p:txBody>
      </p:sp>
    </p:spTree>
    <p:extLst>
      <p:ext uri="{BB962C8B-B14F-4D97-AF65-F5344CB8AC3E}">
        <p14:creationId xmlns:p14="http://schemas.microsoft.com/office/powerpoint/2010/main" val="4205982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41F3B-3683-E6A9-52A1-FCEF86BA6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ramewor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文本框 2">
            <a:extLst>
              <a:ext uri="{FF2B5EF4-FFF2-40B4-BE49-F238E27FC236}">
                <a16:creationId xmlns:a16="http://schemas.microsoft.com/office/drawing/2014/main" id="{E39E5411-81A2-89BE-9C61-238C3B7E6C83}"/>
              </a:ext>
            </a:extLst>
          </p:cNvPr>
          <p:cNvSpPr txBox="1"/>
          <p:nvPr/>
        </p:nvSpPr>
        <p:spPr>
          <a:xfrm>
            <a:off x="616812" y="1182105"/>
            <a:ext cx="10294070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Background of ATO;</a:t>
            </a: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2 important MOs of ATO;</a:t>
            </a: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Big picture for ATO detection; [top-down]</a:t>
            </a: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Models result in 2 different scenarios;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Login step;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Order-create step;</a:t>
            </a:r>
          </a:p>
          <a:p>
            <a:pPr marL="457200" indent="-457200">
              <a:buFont typeface="+mj-lt"/>
              <a:buAutoNum type="arabicParenR"/>
            </a:pPr>
            <a:r>
              <a:rPr lang="en-US" altLang="zh-CN" sz="2300" dirty="0">
                <a:solidFill>
                  <a:srgbClr val="002060"/>
                </a:solidFill>
              </a:rPr>
              <a:t>Future plan;</a:t>
            </a:r>
          </a:p>
          <a:p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0606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D4BC1-EB92-2AAA-359C-BF2066C24D4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8648" y="6287678"/>
            <a:ext cx="5467351" cy="567147"/>
          </a:xfrm>
        </p:spPr>
        <p:txBody>
          <a:bodyPr>
            <a:normAutofit/>
          </a:bodyPr>
          <a:lstStyle/>
          <a:p>
            <a:r>
              <a:rPr lang="en-US" dirty="0"/>
              <a:t>‘</a:t>
            </a:r>
            <a:r>
              <a:rPr lang="en-US" dirty="0" err="1"/>
              <a:t>num_cc_ato</a:t>
            </a:r>
            <a:r>
              <a:rPr lang="en-US" dirty="0"/>
              <a:t>': number of CC tickets whose case reasons are ATO;</a:t>
            </a:r>
          </a:p>
          <a:p>
            <a:r>
              <a:rPr lang="en-US" dirty="0"/>
              <a:t>‘</a:t>
            </a:r>
            <a:r>
              <a:rPr lang="en-US" dirty="0" err="1"/>
              <a:t>num_cc_ato_order</a:t>
            </a:r>
            <a:r>
              <a:rPr lang="en-US" dirty="0"/>
              <a:t>’: number of CC tickets which are additionally attached with ‘</a:t>
            </a:r>
            <a:r>
              <a:rPr lang="en-US" dirty="0" err="1"/>
              <a:t>order_id</a:t>
            </a:r>
            <a:r>
              <a:rPr lang="en-US" dirty="0"/>
              <a:t>’;</a:t>
            </a:r>
          </a:p>
          <a:p>
            <a:r>
              <a:rPr lang="en-US" dirty="0"/>
              <a:t>‘</a:t>
            </a:r>
            <a:r>
              <a:rPr lang="en-US" dirty="0" err="1"/>
              <a:t>num_cc_ato_tag_seller_scam</a:t>
            </a:r>
            <a:r>
              <a:rPr lang="en-US" dirty="0"/>
              <a:t>’: number of CC tickets which are tagged with ‘scam seller’;</a:t>
            </a:r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6B04A2-B3CC-D6C4-8F38-31C15FD0D97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9478C395-1283-4E41-8724-2D9F689566D8}" type="slidenum">
              <a:rPr lang="en-SG" smtClean="0"/>
              <a:t>3</a:t>
            </a:fld>
            <a:endParaRPr lang="en-SG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6684594-35EA-3772-F1F3-6D2261986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340" y="280194"/>
            <a:ext cx="9536418" cy="584774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Background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8EB96EC-D05F-043F-BB60-0747333E6A4D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78C395-1283-4E41-8724-2D9F689566D8}" type="slidenum">
              <a:rPr lang="en-SG" smtClean="0"/>
              <a:pPr/>
              <a:t>3</a:t>
            </a:fld>
            <a:endParaRPr lang="en-SG" dirty="0"/>
          </a:p>
        </p:txBody>
      </p:sp>
      <p:sp>
        <p:nvSpPr>
          <p:cNvPr id="13" name="文本框 2">
            <a:extLst>
              <a:ext uri="{FF2B5EF4-FFF2-40B4-BE49-F238E27FC236}">
                <a16:creationId xmlns:a16="http://schemas.microsoft.com/office/drawing/2014/main" id="{529F78D5-B47A-7455-1792-8400D04C359F}"/>
              </a:ext>
            </a:extLst>
          </p:cNvPr>
          <p:cNvSpPr txBox="1"/>
          <p:nvPr/>
        </p:nvSpPr>
        <p:spPr>
          <a:xfrm>
            <a:off x="616812" y="1182105"/>
            <a:ext cx="1029407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ATO definition: Fake-owners use all tricks to achieve true-owners’ account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Aim: Use true-owners’ money to </a:t>
            </a:r>
            <a:r>
              <a:rPr lang="en-US" altLang="zh-CN" sz="2300" b="1" dirty="0">
                <a:solidFill>
                  <a:srgbClr val="002060"/>
                </a:solidFill>
              </a:rPr>
              <a:t>make profit directly</a:t>
            </a:r>
            <a:r>
              <a:rPr lang="en-US" altLang="zh-CN" sz="2300" dirty="0">
                <a:solidFill>
                  <a:srgbClr val="002060"/>
                </a:solidFill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300" dirty="0">
                <a:solidFill>
                  <a:srgbClr val="002060"/>
                </a:solidFill>
              </a:rPr>
              <a:t>Distribution of ATO Cases:</a:t>
            </a:r>
          </a:p>
          <a:p>
            <a:endParaRPr lang="en-US" altLang="zh-CN" sz="2300" dirty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300" dirty="0">
              <a:solidFill>
                <a:srgbClr val="002060"/>
              </a:solidFill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87C0EC7-4580-B691-94BC-8967A0EF1B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7946809"/>
              </p:ext>
            </p:extLst>
          </p:nvPr>
        </p:nvGraphicFramePr>
        <p:xfrm>
          <a:off x="616812" y="2779712"/>
          <a:ext cx="4932836" cy="311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6C137B10-930D-764A-6DBC-531BE41097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0192566"/>
              </p:ext>
            </p:extLst>
          </p:nvPr>
        </p:nvGraphicFramePr>
        <p:xfrm>
          <a:off x="5631465" y="2779712"/>
          <a:ext cx="5197599" cy="311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54842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1F65C-DA2B-CC44-068D-88B05E3F5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AA5EFF-5113-B9AB-1D4B-B32C60DAB3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EF8449-67DA-7EC1-470A-256E4AFCA6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729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Gre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A5AEDC16-C01A-1F45-A98C-4911459CB53A}" vid="{6988C51E-8424-0543-97F4-F5779D57652D}"/>
    </a:ext>
  </a:extLst>
</a:theme>
</file>

<file path=ppt/theme/theme2.xml><?xml version="1.0" encoding="utf-8"?>
<a:theme xmlns:a="http://schemas.openxmlformats.org/drawingml/2006/main" name="1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A5AEDC16-C01A-1F45-A98C-4911459CB53A}" vid="{6988C51E-8424-0543-97F4-F5779D57652D}"/>
    </a:ext>
  </a:extLst>
</a:theme>
</file>

<file path=ppt/theme/theme4.xml><?xml version="1.0" encoding="utf-8"?>
<a:theme xmlns:a="http://schemas.openxmlformats.org/drawingml/2006/main" name="2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A5AEDC16-C01A-1F45-A98C-4911459CB53A}" vid="{6988C51E-8424-0543-97F4-F5779D57652D}"/>
    </a:ext>
  </a:extLst>
</a:theme>
</file>

<file path=ppt/theme/theme6.xml><?xml version="1.0" encoding="utf-8"?>
<a:theme xmlns:a="http://schemas.openxmlformats.org/drawingml/2006/main" name="3_Office Theme">
  <a:themeElements>
    <a:clrScheme name="Custom 4">
      <a:dk1>
        <a:srgbClr val="1B126C"/>
      </a:dk1>
      <a:lt1>
        <a:srgbClr val="F4F5FC"/>
      </a:lt1>
      <a:dk2>
        <a:srgbClr val="1B126C"/>
      </a:dk2>
      <a:lt2>
        <a:srgbClr val="FFFFFF"/>
      </a:lt2>
      <a:accent1>
        <a:srgbClr val="FE6B00"/>
      </a:accent1>
      <a:accent2>
        <a:srgbClr val="F93FA5"/>
      </a:accent2>
      <a:accent3>
        <a:srgbClr val="FAD757"/>
      </a:accent3>
      <a:accent4>
        <a:srgbClr val="1B126C"/>
      </a:accent4>
      <a:accent5>
        <a:srgbClr val="F93FA5"/>
      </a:accent5>
      <a:accent6>
        <a:srgbClr val="AAB2B8"/>
      </a:accent6>
      <a:hlink>
        <a:srgbClr val="FE6B00"/>
      </a:hlink>
      <a:folHlink>
        <a:srgbClr val="FE8B3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52</TotalTime>
  <Words>161</Words>
  <Application>Microsoft Macintosh PowerPoint</Application>
  <PresentationFormat>Widescreen</PresentationFormat>
  <Paragraphs>25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4" baseType="lpstr">
      <vt:lpstr>微软雅黑</vt:lpstr>
      <vt:lpstr>Proxima Nova</vt:lpstr>
      <vt:lpstr>System Font Regular</vt:lpstr>
      <vt:lpstr>Arial</vt:lpstr>
      <vt:lpstr>Calibri</vt:lpstr>
      <vt:lpstr>Calibri Light</vt:lpstr>
      <vt:lpstr>Courier New</vt:lpstr>
      <vt:lpstr>Franklin Gothic Demi</vt:lpstr>
      <vt:lpstr>Franklin Gothic Medium</vt:lpstr>
      <vt:lpstr>Franklin Gothic Medium Cond</vt:lpstr>
      <vt:lpstr>Futura</vt:lpstr>
      <vt:lpstr>Helvetica</vt:lpstr>
      <vt:lpstr>Wingdings</vt:lpstr>
      <vt:lpstr>Theme1</vt:lpstr>
      <vt:lpstr>1_Office Theme</vt:lpstr>
      <vt:lpstr>1_Theme1</vt:lpstr>
      <vt:lpstr>2_Office Theme</vt:lpstr>
      <vt:lpstr>2_Theme1</vt:lpstr>
      <vt:lpstr>3_Office Theme</vt:lpstr>
      <vt:lpstr>think-cell Slide</vt:lpstr>
      <vt:lpstr>PowerPoint Presentation</vt:lpstr>
      <vt:lpstr>Framework</vt:lpstr>
      <vt:lpstr>Backgroun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icrosoft Office User</cp:lastModifiedBy>
  <cp:revision>1</cp:revision>
  <dcterms:created xsi:type="dcterms:W3CDTF">2022-07-21T05:07:49Z</dcterms:created>
  <dcterms:modified xsi:type="dcterms:W3CDTF">2022-07-26T03:47:50Z</dcterms:modified>
</cp:coreProperties>
</file>